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14"/>
  </p:notesMasterIdLst>
  <p:sldIdLst>
    <p:sldId id="258" r:id="rId2"/>
    <p:sldId id="266" r:id="rId3"/>
    <p:sldId id="267" r:id="rId4"/>
    <p:sldId id="259" r:id="rId5"/>
    <p:sldId id="269" r:id="rId6"/>
    <p:sldId id="260" r:id="rId7"/>
    <p:sldId id="268" r:id="rId8"/>
    <p:sldId id="261" r:id="rId9"/>
    <p:sldId id="262" r:id="rId10"/>
    <p:sldId id="263" r:id="rId11"/>
    <p:sldId id="264" r:id="rId12"/>
    <p:sldId id="265" r:id="rId13"/>
  </p:sldIdLst>
  <p:sldSz cx="18288000" cy="10287000"/>
  <p:notesSz cx="6858000" cy="9144000"/>
  <p:embeddedFontLst>
    <p:embeddedFont>
      <p:font typeface="Candara" panose="020E0502030303020204" pitchFamily="34" charset="0"/>
      <p:regular r:id="rId15"/>
      <p:bold r:id="rId16"/>
      <p:italic r:id="rId17"/>
      <p:boldItalic r:id="rId18"/>
    </p:embeddedFont>
    <p:embeddedFont>
      <p:font typeface="Constantia" panose="02030602050306030303" pitchFamily="18" charset="0"/>
      <p:regular r:id="rId19"/>
      <p:bold r:id="rId20"/>
      <p:italic r:id="rId21"/>
      <p:boldItalic r:id="rId22"/>
    </p:embeddedFont>
    <p:embeddedFont>
      <p:font typeface="JasmineUPC" panose="02020603050405020304" pitchFamily="18" charset="-34"/>
      <p:regular r:id="rId23"/>
      <p:bold r:id="rId24"/>
      <p:italic r:id="rId25"/>
      <p:boldItalic r:id="rId26"/>
    </p:embeddedFont>
    <p:embeddedFont>
      <p:font typeface="Raleway" pitchFamily="2" charset="0"/>
      <p:regular r:id="rId27"/>
      <p:bold r:id="rId28"/>
      <p:italic r:id="rId29"/>
      <p:boldItalic r:id="rId30"/>
    </p:embeddedFont>
    <p:embeddedFont>
      <p:font typeface="Roboto" panose="02000000000000000000" pitchFamily="2" charset="0"/>
      <p:regular r:id="rId31"/>
      <p:bold r:id="rId32"/>
      <p:italic r:id="rId33"/>
      <p:boldItalic r:id="rId34"/>
    </p:embeddedFont>
    <p:embeddedFont>
      <p:font typeface="Roboto Light" panose="02000000000000000000" pitchFamily="2" charset="0"/>
      <p:regular r:id="rId35"/>
      <p:italic r:id="rId36"/>
    </p:embeddedFont>
  </p:embeddedFontLst>
  <p:custDataLst>
    <p:tags r:id="rId3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55" userDrawn="1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8500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A720816-25E3-4680-9927-420201CB8FF1}" v="46" dt="2024-10-01T15:16:05.725"/>
    <p1510:client id="{D9352184-986B-5BC6-B3A6-0A35CEF42CA5}" v="229" dt="2024-10-02T14:30:29.006"/>
    <p1510:client id="{E6863D73-7004-4B55-8E17-4F68037948B2}" v="1" dt="2024-10-02T14:36:47.038"/>
    <p1510:client id="{F3733CCA-A944-26EA-3723-354F18B01AF9}" v="388" dt="2024-10-01T14:42:04.00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45" d="100"/>
          <a:sy n="45" d="100"/>
        </p:scale>
        <p:origin x="816" y="60"/>
      </p:cViewPr>
      <p:guideLst>
        <p:guide orient="horz" pos="655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9" Type="http://schemas.openxmlformats.org/officeDocument/2006/relationships/viewProps" Target="viewProps.xml"/><Relationship Id="rId21" Type="http://schemas.openxmlformats.org/officeDocument/2006/relationships/font" Target="fonts/font7.fntdata"/><Relationship Id="rId34" Type="http://schemas.openxmlformats.org/officeDocument/2006/relationships/font" Target="fonts/font20.fntdata"/><Relationship Id="rId42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font" Target="fonts/font15.fntdata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0.fntdata"/><Relationship Id="rId32" Type="http://schemas.openxmlformats.org/officeDocument/2006/relationships/font" Target="fonts/font18.fntdata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font" Target="fonts/font14.fntdata"/><Relationship Id="rId36" Type="http://schemas.openxmlformats.org/officeDocument/2006/relationships/font" Target="fonts/font22.fntdata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31" Type="http://schemas.openxmlformats.org/officeDocument/2006/relationships/font" Target="fonts/font1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Relationship Id="rId27" Type="http://schemas.openxmlformats.org/officeDocument/2006/relationships/font" Target="fonts/font13.fntdata"/><Relationship Id="rId30" Type="http://schemas.openxmlformats.org/officeDocument/2006/relationships/font" Target="fonts/font16.fntdata"/><Relationship Id="rId35" Type="http://schemas.openxmlformats.org/officeDocument/2006/relationships/font" Target="fonts/font21.fntdata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33" Type="http://schemas.openxmlformats.org/officeDocument/2006/relationships/font" Target="fonts/font19.fntdata"/><Relationship Id="rId38" Type="http://schemas.openxmlformats.org/officeDocument/2006/relationships/presProps" Target="presProps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2T14:35:57.676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0487 14944 16383 0 0,'-26'0'0'0'0,"-77"0"0"0"0,-82 21 0 0 0,-53 5 0 0 0,-45 18 0 0 0,-10 2 0 0 0,-7-5 0 0 0,5-11 0 0 0,0-12 0 0 0,8-8 0 0 0,1-4 0 0 0,5-6 0 0 0,17 0 0 0 0,1-2 0 0 0,29 0 0 0 0,26 0 0 0 0,33 0 0 0 0,29 2 0 0 0,22 0 0 0 0,23 0 0 0 0,20 0 0 0 0,16 0 0 0 0,9 0 0 0 0,6 0 0 0 0,21 0 0 0 0,23 0 0 0 0,30 0 0 0 0,37 0 0 0 0,34 0 0 0 0,18 0 0 0 0,25 0 0 0 0,13 0 0 0 0,18-20 0 0 0,12-26 0 0 0,46-25 0 0 0,61-21 0 0 0,51-13 0 0 0,29-10 0 0 0,3-4 0 0 0,-2-4 0 0 0,-11 23 0 0 0,-14 25 0 0 0,-7 27 0 0 0,-8 22 0 0 0,-25-7 0 0 0,-39 5 0 0 0,-22 6 0 0 0,-34 8 0 0 0,-27 4 0 0 0,-27 6 0 0 0,-22 2 0 0 0,-27 2 0 0 0,-21 2 0 0 0,-17 0 0 0 0,-37-2 0 0 0,-60 2 0 0 0,-83-2 0 0 0,-93 0 0 0 0,-114 0 0 0 0,-124 0 0 0 0,-116 0 0 0 0,-76 0 0 0 0,-31 0 0 0 0,-35 0 0 0 0,-8 0 0 0 0,21-20 0 0 0,49-45 0 0 0,66-33 0 0 0,43-17 0 0 0,42 8 0 0 0,45 4 0 0 0,37 1 0 0 0,44 15 0 0 0,66 25 0 0 0,59 1 0 0 0,42 13 0 0 0,47 12 0 0 0,31 14 0 0 0,26 12 0 0 0,12 4 0 0 0,28 6 0 0 0,31-19 0 0 0,45-3 0 0 0,44 0 0 0 0,28 4 0 0 0,23 4 0 0 0,43 6 0 0 0,27 4 0 0 0,44 2 0 0 0,66 2 0 0 0,70 2 0 0 0,49-2 0 0 0,30-18 0 0 0,-16-8 0 0 0,-15 1 0 0 0,-16 5 0 0 0,-35 6 0 0 0,-19 6 0 0 0,-8 2 0 0 0,-19 6 0 0 0,-12-2 0 0 0,-33 4 0 0 0,-29-2 0 0 0,-30 2 0 0 0,-18-2 0 0 0,-26 2 0 0 0,2-2 0 0 0,-4 0 0 0 0,-13 0 0 0 0,-8 0 0 0 0,-21 0 0 0 0,-24 20 0 0 0,-3 6 0 0 0,-11-1 0 0 0,-21 15 0 0 0,-14 0 0 0 0,-15 14 0 0 0,-42 17 0 0 0,-46-3 0 0 0,-58 7 0 0 0,-72 28 0 0 0,-75-1 0 0 0,-71-19 0 0 0,-77-23 0 0 0,-47-23 0 0 0,-43-15 0 0 0,-25-14 0 0 0,-1-8 0 0 0,18-2 0 0 0,32-4 0 0 0,44 2 0 0 0,60 0 0 0 0,56 2 0 0 0,64 0 0 0 0,46 2 0 0 0,48 0 0 0 0,33 0 0 0 0,27 0 0 0 0,18 0 0 0 0,15 0 0 0 0,24 0 0 0 0,26 20 0 0 0,22 6 0 0 0,35-2 0 0 0,43-4 0 0 0,31 14 0 0 0,28 3 0 0 0,23-7 0 0 0,33-8 0 0 0,7 12 0 0 0,18 0 0 0 0,20 15 0 0 0,12-3 0 0 0,27-8 0 0 0,25 11 0 0 0,19-5 0 0 0,12-10 0 0 0,7 11 0 0 0,-15-5 0 0 0,-4-8 0 0 0,-8-8 0 0 0,-17-10 0 0 0,-19 12 0 0 0,-34 3 0 0 0,-25-3 0 0 0,-37-8 0 0 0,-25 14 0 0 0,-35 2 0 0 0,-30-5 0 0 0,-27-9 0 0 0,-17-6 0 0 0,-21 14 0 0 0,-42 20 0 0 0,-65 25 0 0 0,-47-3 0 0 0,-48-11 0 0 0,-32-17 0 0 0,-35-16 0 0 0,-39-10 0 0 0,-27-10 0 0 0,-15-6 0 0 0,2-2 0 0 0,17 0 0 0 0,7-2 0 0 0,16 2 0 0 0,28 0 0 0 0,36 0 0 0 0,36 2 0 0 0,19 0 0 0 0,18 0 0 0 0,22 0 0 0 0,12 0 0 0 0,4 0 0 0 0,9 0 0 0 0,10 0 0 0 0,8 0 0 0 0,6 0 0 0 0,5 0 0 0 0,2 0 0 0 0,17 0 0 0 0,33-20 0 0 0,25-6 0 0 0,16 2 0 0 0,19 4 0 0 0,25 6 0 0 0,24-17 0 0 0,54-19 0 0 0,41-22 0 0 0,65-1 0 0 0,47 15 0 0 0,38 15 0 0 0,28 17 0 0 0,1 10 0 0 0,4 10 0 0 0,-19 6 0 0 0,-48 2 0 0 0,-44 2 0 0 0,-51-2 0 0 0,-46 0 0 0 0,-46 0 0 0 0,-36 0 0 0 0,-52-2 0 0 0,-52 0 0 0 0,-58 0 0 0 0,-52 0 0 0 0,-42 0 0 0 0,-62 0 0 0 0,-55 0 0 0 0,-48 0 0 0 0,-39-20 0 0 0,-17-6 0 0 0,20 2 0 0 0,30-17 0 0 0,44 1 0 0 0,36-14 0 0 0,18 3 0 0 0,31 9 0 0 0,23 14 0 0 0,26 8 0 0 0,21 12 0 0 0,23 4 0 0 0,6 4 0 0 0,10 2 0 0 0,13 0 0 0 0,11 0 0 0 0,0 0 0 0 0,3-2 0 0 0,29 2 0 0 0,30-2 0 0 0,33 0 0 0 0,20 0 0 0 0,12 0 0 0 0,4 0 0 0 0,8 0 0 0 0,1 0 0 0 0,5 0 0 0 0,8 0 0 0 0,5 0 0 0 0,15 0 0 0 0,13 0 0 0 0,6 0 0 0 0,-11 20 0 0 0,-15 6 0 0 0,-15-2 0 0 0,-15-4 0 0 0,-9-6 0 0 0,-15 17 0 0 0,-15 19 0 0 0,-12 22 0 0 0,-18 21 0 0 0,-17-8 0 0 0,-23-19 0 0 0,-22-18 0 0 0,-25-19 0 0 0,-17-13 0 0 0,-6-12 0 0 0,-11-4 0 0 0,-1-2 0 0 0,11-2 0 0 0,7 0 0 0 0,5 0 0 0 0,10 2 0 0 0,13 2 0 0 0,10-2 0 0 0,8 2 0 0 0,14 20 0 0 0,23 6 0 0 0,24 0 0 0 0,20-6 0 0 0,24-6 0 0 0,13-6 0 0 0,4-1 0 0 0,1-5 0 0 0,-2-2 0 0 0,14-2 0 0 0,3 2 0 0 0,6-3 0 0 0,-4 3 0 0 0,1 0 0 0 0,-3-2 0 0 0,-8 2 0 0 0,-23 0 0 0 0,-30 0 0 0 0,-42 0 0 0 0,-36 0 0 0 0,-51 0 0 0 0,-31 0 0 0 0,-18 0 0 0 0,1 0 0 0 0,11-20 0 0 0,3-6 0 0 0,11 2 0 0 0,9 4 0 0 0,19 6 0 0 0,18 4 0 0 0,15 6 0 0 0,12 2 0 0 0,7 2 0 0 0,5 0 0 0 0,1 2 0 0 0,10-20 0 0 0,19-29 0 0 0,22-3 0 0 0,19 6 0 0 0,31 9 0 0 0,16 11 0 0 0,5 10 0 0 0,6-12 0 0 0,16-2 0 0 0,9 4 0 0 0,4 5 0 0 0,9 7 0 0 0,2 6 0 0 0,-2 2 0 0 0,-5 4 0 0 0,-3 0 0 0 0,-4 0 0 0 0,-11 2 0 0 0,-4 0 0 0 0,-10-2 0 0 0,-9 0 0 0 0,-8 0 0 0 0,-16-18 0 0 0,-24-8 0 0 0,-25-20 0 0 0,-20-1 0 0 0,-17 9 0 0 0,-9 8 0 0 0,-5 12 0 0 0,-4 6 0 0 0,9 8 0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2T14:35:57.677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7236 14054 16383 0 0,'-10'0'0'0'0,"-13"0"0"0"0,-12 0 0 0 0,-11 0 0 0 0,14 0 0 0 0,20 0 0 0 0,34-10 0 0 0,21-3 0 0 0,14 1 0 0 0,-12-8 0 0 0,-34-10 0 0 0,-49-10 0 0 0,-36-8 0 0 0,-46-25 0 0 0,-21 0 0 0 0,-17-8 0 0 0,-11 1 0 0 0,-6 4 0 0 0,-3 5 0 0 0,10-6 0 0 0,13 12 0 0 0,4 6 0 0 0,17 13 0 0 0,23 15 0 0 0,19 12 0 0 0,16 9 0 0 0,31 7 0 0 0,33 4 0 0 0,37 2 0 0 0,35-1 0 0 0,17 1 0 0 0,15 19 0 0 0,11 5 0 0 0,28 9 0 0 0,20 7 0 0 0,45 7 0 0 0,17 4 0 0 0,12 3 0 0 0,-12-8 0 0 0,-23-3 0 0 0,-15 1 0 0 0,-26 2 0 0 0,-30 3 0 0 0,-5 1 0 0 0,-12 3 0 0 0,-14-9 0 0 0,-12-2 0 0 0,-19 1 0 0 0,-19 2 0 0 0,-16 3 0 0 0,-11 3 0 0 0,-19-9 0 0 0,-26-1 0 0 0,-37-8 0 0 0,-27-11 0 0 0,-16-9 0 0 0,-8-8 0 0 0,-12-4 0 0 0,-14-4 0 0 0,-1-1 0 0 0,15-1 0 0 0,21 0 0 0 0,9 0 0 0 0,4 1 0 0 0,8 0 0 0 0,0 1 0 0 0,-3 0 0 0 0,-16-10 0 0 0,2-3 0 0 0,9-9 0 0 0,13-1 0 0 0,10 3 0 0 0,9 6 0 0 0,6 4 0 0 0,14-5 0 0 0,4 0 0 0 0,1-8 0 0 0,8-9 0 0 0,9-10 0 0 0,9-7 0 0 0,18-5 0 0 0,18-3 0 0 0,26-2 0 0 0,34 9 0 0 0,23 14 0 0 0,15 12 0 0 0,26 10 0 0 0,28 8 0 0 0,54 5 0 0 0,28 2 0 0 0,0 12 0 0 0,-23 2 0 0 0,-31 0 0 0 0,-30-3 0 0 0,-34-4 0 0 0,-30-3 0 0 0,-13-2 0 0 0,-2 7 0 0 0,-8 3 0 0 0,-17 9 0 0 0,-39 1 0 0 0,-63-5 0 0 0,-46-4 0 0 0,-47-4 0 0 0,-31-5 0 0 0,-18-3 0 0 0,2-2 0 0 0,11 0 0 0 0,5-1 0 0 0,20 0 0 0 0,34 0 0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1T14:42:40.478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26591 9472 16383 0 0,'0'0'0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1T14:42:40.479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28416 9340 16383 0 0,'0'0'0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10-01T14:42:40.476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38735 4763 16383 0 0,'0'0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_FIRST_SLIDE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/>
              <a:t>2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109652" y="2882068"/>
            <a:ext cx="14068696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11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Smart Slides</a:t>
            </a:r>
            <a:endParaRPr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109652" y="4823012"/>
            <a:ext cx="14044090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/>
              <a:t>Make Slides in a flash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068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SMALL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_block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8287999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51371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06555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/>
          </a:p>
        </p:txBody>
      </p:sp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/>
              <a:t>2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/>
              <a:t>0</a:t>
            </a:r>
            <a:endParaRPr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3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  <p:sp>
        <p:nvSpPr>
          <p:cNvPr id="5" name="background_block">
            <a:extLst>
              <a:ext uri="{FF2B5EF4-FFF2-40B4-BE49-F238E27FC236}">
                <a16:creationId xmlns:a16="http://schemas.microsoft.com/office/drawing/2014/main" id="{7BEEA341-586D-B048-35BC-9616BE85A2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13842" y="0"/>
            <a:ext cx="57257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20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601200"/>
            <a:ext cx="18288000" cy="68579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21</a:t>
            </a:r>
            <a:endParaRPr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9</a:t>
            </a:r>
            <a:endParaRPr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359646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/>
              <a:t>2</a:t>
            </a:r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/>
              <a:t>0</a:t>
            </a:r>
            <a:endParaRPr/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7D4BB170-9F09-7110-3CD4-AF58BD7B65E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22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/>
              <a:t>2</a:t>
            </a:r>
          </a:p>
        </p:txBody>
      </p:sp>
      <p:sp>
        <p:nvSpPr>
          <p:cNvPr id="22" name="background_block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/>
          </a:p>
        </p:txBody>
      </p:sp>
      <p:sp>
        <p:nvSpPr>
          <p:cNvPr id="25" name="content_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9</a:t>
            </a:r>
            <a:endParaRPr/>
          </a:p>
        </p:txBody>
      </p:sp>
      <p:sp>
        <p:nvSpPr>
          <p:cNvPr id="26" name="image_3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/>
              <a:t>18</a:t>
            </a:r>
          </a:p>
        </p:txBody>
      </p:sp>
      <p:sp>
        <p:nvSpPr>
          <p:cNvPr id="23" name="content_2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21</a:t>
            </a:r>
            <a:endParaRPr/>
          </a:p>
        </p:txBody>
      </p:sp>
      <p:sp>
        <p:nvSpPr>
          <p:cNvPr id="24" name="image_2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/>
              <a:t>1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/>
              <a:t>0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_4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25</a:t>
            </a:r>
            <a:endParaRPr/>
          </a:p>
        </p:txBody>
      </p:sp>
      <p:sp>
        <p:nvSpPr>
          <p:cNvPr id="22" name="image_4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23</a:t>
            </a:r>
          </a:p>
        </p:txBody>
      </p:sp>
      <p:sp>
        <p:nvSpPr>
          <p:cNvPr id="12" name="content_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22</a:t>
            </a:r>
            <a:endParaRPr/>
          </a:p>
        </p:txBody>
      </p:sp>
      <p:sp>
        <p:nvSpPr>
          <p:cNvPr id="13" name="image_3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20</a:t>
            </a:r>
          </a:p>
        </p:txBody>
      </p:sp>
      <p:sp>
        <p:nvSpPr>
          <p:cNvPr id="2" name="content_2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9</a:t>
            </a:r>
            <a:endParaRPr/>
          </a:p>
        </p:txBody>
      </p:sp>
      <p:sp>
        <p:nvSpPr>
          <p:cNvPr id="5" name="image_2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12</a:t>
            </a:r>
          </a:p>
        </p:txBody>
      </p:sp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26</a:t>
            </a:r>
          </a:p>
        </p:txBody>
      </p:sp>
      <p:sp>
        <p:nvSpPr>
          <p:cNvPr id="6" name="image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/>
              <a:t>0</a:t>
            </a:r>
            <a:endParaRPr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D430C6F0-E30A-7BAF-6C33-C5B5211D4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887448"/>
            <a:ext cx="18286412" cy="39955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429000"/>
            <a:ext cx="4624475" cy="6172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6994357" y="1028700"/>
            <a:ext cx="10374479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/>
              <a:t>0</a:t>
            </a:r>
            <a:endParaRPr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4" name="chart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69124" y="9601200"/>
            <a:ext cx="10404476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A3D5285-BC74-616C-FC2D-82173282C0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943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5F36563A-2106-69C5-E8E9-27FA96DE80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94357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688175B4-C1B3-DC4A-FC57-AA718C3244C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726546" y="0"/>
            <a:ext cx="559866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21798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CHART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_block">
            <a:extLst>
              <a:ext uri="{FF2B5EF4-FFF2-40B4-BE49-F238E27FC236}">
                <a16:creationId xmlns:a16="http://schemas.microsoft.com/office/drawing/2014/main" id="{FDEABBCE-427C-A928-7A5F-A6E46759AD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/>
          </p:nvPr>
        </p:nvSpPr>
        <p:spPr>
          <a:xfrm>
            <a:off x="12744450" y="3429000"/>
            <a:ext cx="4624475" cy="59182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/>
          </a:p>
        </p:txBody>
      </p:sp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7" y="2263775"/>
            <a:ext cx="10399712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5" y="3429000"/>
            <a:ext cx="10399712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BD69A525-8BD0-FB5F-9FB7-C8A123291AF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394265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CHAR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heading"/>
          <p:cNvSpPr txBox="1">
            <a:spLocks noGrp="1"/>
          </p:cNvSpPr>
          <p:nvPr>
            <p:ph type="title"/>
          </p:nvPr>
        </p:nvSpPr>
        <p:spPr>
          <a:xfrm>
            <a:off x="919163" y="1028700"/>
            <a:ext cx="14625637" cy="98266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5" name="chart_heading">
            <a:extLst>
              <a:ext uri="{FF2B5EF4-FFF2-40B4-BE49-F238E27FC236}">
                <a16:creationId xmlns:a16="http://schemas.microsoft.com/office/drawing/2014/main" id="{93398EF0-41AD-1DA3-9D4A-789F64FD72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9956" y="2263775"/>
            <a:ext cx="14624843" cy="738188"/>
          </a:xfrm>
        </p:spPr>
        <p:txBody>
          <a:bodyPr/>
          <a:lstStyle>
            <a:lvl1pPr marL="7620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hart Title</a:t>
            </a:r>
          </a:p>
        </p:txBody>
      </p:sp>
      <p:sp>
        <p:nvSpPr>
          <p:cNvPr id="6" name="chart_background">
            <a:extLst>
              <a:ext uri="{FF2B5EF4-FFF2-40B4-BE49-F238E27FC236}">
                <a16:creationId xmlns:a16="http://schemas.microsoft.com/office/drawing/2014/main" id="{C3DA4F55-4539-14D6-34D1-2DAB4E83977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074" y="3429000"/>
            <a:ext cx="14625725" cy="5918200"/>
          </a:xfrm>
          <a:solidFill>
            <a:schemeClr val="bg1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7" name="background_block">
            <a:extLst>
              <a:ext uri="{FF2B5EF4-FFF2-40B4-BE49-F238E27FC236}">
                <a16:creationId xmlns:a16="http://schemas.microsoft.com/office/drawing/2014/main" id="{C99C115F-07D7-7960-E7F5-D108DC3DF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9607550"/>
            <a:ext cx="18286412" cy="679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  <p:sp>
        <p:nvSpPr>
          <p:cNvPr id="8" name="chart_attribution">
            <a:extLst>
              <a:ext uri="{FF2B5EF4-FFF2-40B4-BE49-F238E27FC236}">
                <a16:creationId xmlns:a16="http://schemas.microsoft.com/office/drawing/2014/main" id="{5FFC2887-C1F1-3ECB-D55D-8EC43892E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744450" y="9601200"/>
            <a:ext cx="46244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CHART_ATTRIBUTION</a:t>
            </a:r>
          </a:p>
        </p:txBody>
      </p:sp>
    </p:spTree>
    <p:extLst>
      <p:ext uri="{BB962C8B-B14F-4D97-AF65-F5344CB8AC3E}">
        <p14:creationId xmlns:p14="http://schemas.microsoft.com/office/powerpoint/2010/main" val="47677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Smart Slides</a:t>
            </a:r>
            <a:endParaRPr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3429000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/>
              <a:t>Make Slides in a flash</a:t>
            </a:r>
            <a:endParaRPr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logo"/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/>
              <a:t>2</a:t>
            </a:r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4" y="2277035"/>
            <a:ext cx="13968341" cy="732419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3968341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Raleway" pitchFamily="2" charset="77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/>
              <a:t>0</a:t>
            </a:r>
            <a:endParaRPr/>
          </a:p>
        </p:txBody>
      </p:sp>
      <p:sp>
        <p:nvSpPr>
          <p:cNvPr id="3" name="background_block">
            <a:extLst>
              <a:ext uri="{FF2B5EF4-FFF2-40B4-BE49-F238E27FC236}">
                <a16:creationId xmlns:a16="http://schemas.microsoft.com/office/drawing/2014/main" id="{75F89250-7C5B-B1F5-8200-8B8C635D3F3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7756372" y="0"/>
            <a:ext cx="531628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2135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EXT_HALF_COLOR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87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/>
              <a:t>0</a:t>
            </a:r>
            <a:endParaRPr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3</a:t>
            </a:r>
          </a:p>
        </p:txBody>
      </p:sp>
      <p:sp>
        <p:nvSpPr>
          <p:cNvPr id="6" name="background_block">
            <a:extLst>
              <a:ext uri="{FF2B5EF4-FFF2-40B4-BE49-F238E27FC236}">
                <a16:creationId xmlns:a16="http://schemas.microsoft.com/office/drawing/2014/main" id="{E0646940-DA1E-5EA3-E796-448F4439F9B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1304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3720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mage">
            <a:extLst>
              <a:ext uri="{FF2B5EF4-FFF2-40B4-BE49-F238E27FC236}">
                <a16:creationId xmlns:a16="http://schemas.microsoft.com/office/drawing/2014/main" id="{94B6F339-EBB5-67F5-7B23-40FE4295796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-1" y="6375"/>
            <a:ext cx="18288001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/>
              <a:t>10</a:t>
            </a:r>
          </a:p>
        </p:txBody>
      </p:sp>
      <p:sp>
        <p:nvSpPr>
          <p:cNvPr id="35" name="transparent_block"/>
          <p:cNvSpPr>
            <a:spLocks noGrp="1"/>
          </p:cNvSpPr>
          <p:nvPr>
            <p:ph type="pic" idx="2" hasCustomPrompt="1"/>
          </p:nvPr>
        </p:nvSpPr>
        <p:spPr>
          <a:xfrm>
            <a:off x="1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/>
              <a:t>10</a:t>
            </a:r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2671483" y="5869292"/>
            <a:ext cx="13330518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/>
              <a:t>0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_block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  <p:sp>
        <p:nvSpPr>
          <p:cNvPr id="5" name="heading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0</a:t>
            </a:r>
            <a:endParaRPr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/>
              <a:t>2</a:t>
            </a:r>
          </a:p>
        </p:txBody>
      </p:sp>
      <p:sp>
        <p:nvSpPr>
          <p:cNvPr id="2" name="image_attribution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MIDDLE_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heading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/>
              <a:t>0</a:t>
            </a:r>
            <a:endParaRPr/>
          </a:p>
        </p:txBody>
      </p:sp>
      <p:sp>
        <p:nvSpPr>
          <p:cNvPr id="1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18" name="logo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image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/>
              <a:t>2</a:t>
            </a:r>
          </a:p>
        </p:txBody>
      </p:sp>
      <p:sp>
        <p:nvSpPr>
          <p:cNvPr id="4" name="background_block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/>
              <a:t>10</a:t>
            </a:r>
          </a:p>
        </p:txBody>
      </p:sp>
      <p:sp>
        <p:nvSpPr>
          <p:cNvPr id="6" name="image_attribution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/>
              <a:t>10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/>
              <a:t>0</a:t>
            </a:r>
            <a:endParaRPr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9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image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/>
              <a:t>3</a:t>
            </a:r>
          </a:p>
        </p:txBody>
      </p:sp>
      <p:sp>
        <p:nvSpPr>
          <p:cNvPr id="37" name="content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/>
              <a:t>1</a:t>
            </a:r>
            <a:endParaRPr/>
          </a:p>
        </p:txBody>
      </p:sp>
      <p:sp>
        <p:nvSpPr>
          <p:cNvPr id="38" name="heading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/>
              <a:t>0</a:t>
            </a:r>
            <a:endParaRPr/>
          </a:p>
        </p:txBody>
      </p:sp>
      <p:sp>
        <p:nvSpPr>
          <p:cNvPr id="3" name="logo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4" name="image_attribution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D679FE-3B60-23E0-8EBD-D3204877DB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err="1"/>
              <a:t>asd</a:t>
            </a:r>
            <a:endParaRPr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06DCB6-BDD3-0C02-D0C6-B4B53F933815}"/>
              </a:ext>
            </a:extLst>
          </p:cNvPr>
          <p:cNvSpPr txBox="1"/>
          <p:nvPr userDrawn="1"/>
        </p:nvSpPr>
        <p:spPr>
          <a:xfrm>
            <a:off x="931000" y="9601200"/>
            <a:ext cx="5188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Smart Slides GPT Plugin</a:t>
            </a: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0" r:id="rId1"/>
    <p:sldLayoutId id="2147483663" r:id="rId2"/>
    <p:sldLayoutId id="2147483671" r:id="rId3"/>
    <p:sldLayoutId id="2147483673" r:id="rId4"/>
    <p:sldLayoutId id="2147483666" r:id="rId5"/>
    <p:sldLayoutId id="2147483662" r:id="rId6"/>
    <p:sldLayoutId id="2147483664" r:id="rId7"/>
    <p:sldLayoutId id="2147483660" r:id="rId8"/>
    <p:sldLayoutId id="2147483657" r:id="rId9"/>
    <p:sldLayoutId id="2147483665" r:id="rId10"/>
    <p:sldLayoutId id="2147483674" r:id="rId11"/>
    <p:sldLayoutId id="2147483658" r:id="rId12"/>
    <p:sldLayoutId id="2147483661" r:id="rId13"/>
    <p:sldLayoutId id="2147483655" r:id="rId14"/>
    <p:sldLayoutId id="2147483659" r:id="rId15"/>
    <p:sldLayoutId id="2147483656" r:id="rId16"/>
    <p:sldLayoutId id="2147483668" r:id="rId17"/>
    <p:sldLayoutId id="2147483669" r:id="rId18"/>
    <p:sldLayoutId id="214748367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jpeg"/><Relationship Id="rId5" Type="http://schemas.openxmlformats.org/officeDocument/2006/relationships/image" Target="../media/image7.png"/><Relationship Id="rId4" Type="http://schemas.openxmlformats.org/officeDocument/2006/relationships/customXml" Target="../ink/ink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customXml" Target="../ink/ink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8.png"/><Relationship Id="rId4" Type="http://schemas.openxmlformats.org/officeDocument/2006/relationships/customXml" Target="../ink/ink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ustomXml" Target="../ink/ink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.jpeg"/><Relationship Id="rId5" Type="http://schemas.openxmlformats.org/officeDocument/2006/relationships/image" Target="../media/image8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Abstract background of dark mesh">
            <a:extLst>
              <a:ext uri="{FF2B5EF4-FFF2-40B4-BE49-F238E27FC236}">
                <a16:creationId xmlns:a16="http://schemas.microsoft.com/office/drawing/2014/main" id="{2C81340D-65A7-21A8-9C03-09CDB73ECF7E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solidFill>
            <a:srgbClr val="004085"/>
          </a:solidFill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45" y="1875140"/>
            <a:ext cx="18286910" cy="1863129"/>
          </a:xfrm>
        </p:spPr>
        <p:txBody>
          <a:bodyPr/>
          <a:lstStyle/>
          <a:p>
            <a:pPr>
              <a:defRPr sz="4600">
                <a:solidFill>
                  <a:srgbClr val="FFFFFF"/>
                </a:solidFill>
                <a:latin typeface="Roboto"/>
              </a:defRPr>
            </a:pPr>
            <a:r>
              <a:rPr sz="6600" b="1" u="sng">
                <a:solidFill>
                  <a:schemeClr val="bg2"/>
                </a:solidFill>
                <a:latin typeface="Candara"/>
                <a:cs typeface="Calibri"/>
              </a:rPr>
              <a:t>Introduction to</a:t>
            </a:r>
            <a:br>
              <a:rPr lang="en-US" sz="6600" b="1" u="sng">
                <a:solidFill>
                  <a:schemeClr val="bg2"/>
                </a:solidFill>
                <a:latin typeface="Candara"/>
                <a:cs typeface="Calibri"/>
              </a:rPr>
            </a:br>
            <a:r>
              <a:rPr lang="en-US" sz="6600" b="1" u="sng">
                <a:solidFill>
                  <a:schemeClr val="bg2"/>
                </a:solidFill>
                <a:latin typeface="Candara"/>
                <a:cs typeface="Calibri"/>
              </a:rPr>
              <a:t> </a:t>
            </a:r>
            <a:r>
              <a:rPr sz="6600" b="1" u="sng">
                <a:solidFill>
                  <a:schemeClr val="bg2"/>
                </a:solidFill>
                <a:latin typeface="Candara"/>
                <a:cs typeface="Calibri"/>
              </a:rPr>
              <a:t>Types of Computers</a:t>
            </a:r>
            <a:endParaRPr lang="en-US" sz="6600" b="1" u="sng">
              <a:solidFill>
                <a:schemeClr val="bg2"/>
              </a:solidFill>
              <a:latin typeface="Candara"/>
              <a:cs typeface="Calibri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2109652" y="4823012"/>
            <a:ext cx="14044090" cy="2367003"/>
          </a:xfr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defRPr sz="3600">
                <a:latin typeface="Roboto"/>
              </a:defRPr>
            </a:pPr>
            <a:r>
              <a:rPr sz="6600" b="1" dirty="0">
                <a:solidFill>
                  <a:schemeClr val="accent6">
                    <a:lumMod val="76000"/>
                  </a:schemeClr>
                </a:solidFill>
                <a:latin typeface="JasmineUPC"/>
                <a:ea typeface="Calibri"/>
                <a:cs typeface="JasmineUPC"/>
              </a:rPr>
              <a:t>Overview</a:t>
            </a:r>
            <a:r>
              <a:rPr lang="en-US" sz="6600" b="1" dirty="0">
                <a:solidFill>
                  <a:schemeClr val="accent6">
                    <a:lumMod val="76000"/>
                  </a:schemeClr>
                </a:solidFill>
                <a:latin typeface="JasmineUPC"/>
                <a:ea typeface="Calibri"/>
                <a:cs typeface="JasmineUPC"/>
              </a:rPr>
              <a:t> &amp; </a:t>
            </a:r>
            <a:r>
              <a:rPr sz="6600" b="1" dirty="0">
                <a:solidFill>
                  <a:schemeClr val="accent6">
                    <a:lumMod val="76000"/>
                  </a:schemeClr>
                </a:solidFill>
                <a:latin typeface="JasmineUPC"/>
                <a:ea typeface="Calibri"/>
                <a:cs typeface="JasmineUPC"/>
              </a:rPr>
              <a:t>Classification</a:t>
            </a:r>
            <a:endParaRPr lang="en-US" sz="6600" b="1" dirty="0">
              <a:solidFill>
                <a:schemeClr val="accent6">
                  <a:lumMod val="76000"/>
                </a:schemeClr>
              </a:solidFill>
              <a:latin typeface="JasmineUPC"/>
              <a:ea typeface="Calibri"/>
              <a:cs typeface="JasmineUPC"/>
            </a:endParaRPr>
          </a:p>
          <a:p>
            <a:pPr>
              <a:defRPr sz="3600">
                <a:latin typeface="Roboto"/>
              </a:defRPr>
            </a:pPr>
            <a:r>
              <a:rPr sz="6600" b="1" dirty="0">
                <a:solidFill>
                  <a:schemeClr val="accent6">
                    <a:lumMod val="76000"/>
                  </a:schemeClr>
                </a:solidFill>
                <a:latin typeface="JasmineUPC"/>
                <a:ea typeface="Calibri"/>
                <a:cs typeface="JasmineUPC"/>
              </a:rPr>
              <a:t> </a:t>
            </a:r>
            <a:r>
              <a:rPr lang="en-US" sz="6600" b="1" dirty="0">
                <a:solidFill>
                  <a:schemeClr val="accent6">
                    <a:lumMod val="76000"/>
                  </a:schemeClr>
                </a:solidFill>
                <a:latin typeface="JasmineUPC"/>
                <a:ea typeface="Calibri"/>
                <a:cs typeface="JasmineUPC"/>
              </a:rPr>
              <a:t>O</a:t>
            </a:r>
            <a:r>
              <a:rPr sz="6600" b="1" dirty="0">
                <a:solidFill>
                  <a:schemeClr val="accent6">
                    <a:lumMod val="76000"/>
                  </a:schemeClr>
                </a:solidFill>
                <a:latin typeface="JasmineUPC"/>
                <a:ea typeface="Calibri"/>
                <a:cs typeface="JasmineUPC"/>
              </a:rPr>
              <a:t>f</a:t>
            </a:r>
            <a:endParaRPr lang="en-US" sz="6600" b="1" dirty="0">
              <a:solidFill>
                <a:schemeClr val="accent6">
                  <a:lumMod val="76000"/>
                </a:schemeClr>
              </a:solidFill>
              <a:latin typeface="JasmineUPC"/>
              <a:ea typeface="Calibri"/>
              <a:cs typeface="JasmineUPC"/>
            </a:endParaRPr>
          </a:p>
          <a:p>
            <a:pPr>
              <a:defRPr sz="3600">
                <a:latin typeface="Roboto"/>
              </a:defRPr>
            </a:pPr>
            <a:r>
              <a:rPr sz="6600" b="1" dirty="0">
                <a:solidFill>
                  <a:schemeClr val="accent6">
                    <a:lumMod val="76000"/>
                  </a:schemeClr>
                </a:solidFill>
                <a:latin typeface="JasmineUPC"/>
                <a:ea typeface="Calibri"/>
                <a:cs typeface="JasmineUPC"/>
              </a:rPr>
              <a:t> </a:t>
            </a:r>
            <a:r>
              <a:rPr lang="en-US" sz="6600" b="1" dirty="0">
                <a:solidFill>
                  <a:schemeClr val="accent6">
                    <a:lumMod val="76000"/>
                  </a:schemeClr>
                </a:solidFill>
                <a:latin typeface="JasmineUPC"/>
                <a:ea typeface="Calibri"/>
                <a:cs typeface="JasmineUPC"/>
              </a:rPr>
              <a:t>C</a:t>
            </a:r>
            <a:r>
              <a:rPr sz="6600" b="1" dirty="0">
                <a:solidFill>
                  <a:schemeClr val="accent6">
                    <a:lumMod val="76000"/>
                  </a:schemeClr>
                </a:solidFill>
                <a:latin typeface="JasmineUPC"/>
                <a:ea typeface="Calibri"/>
                <a:cs typeface="JasmineUPC"/>
              </a:rPr>
              <a:t>omputer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9E3006-B2D0-47FF-413D-3C9F7CF33883}"/>
              </a:ext>
            </a:extLst>
          </p:cNvPr>
          <p:cNvSpPr txBox="1"/>
          <p:nvPr/>
        </p:nvSpPr>
        <p:spPr>
          <a:xfrm>
            <a:off x="184315" y="7936675"/>
            <a:ext cx="3077687" cy="20621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200">
                <a:solidFill>
                  <a:schemeClr val="bg1"/>
                </a:solidFill>
                <a:ea typeface="Calibri"/>
                <a:cs typeface="Calibri"/>
              </a:rPr>
              <a:t>Presentation By:</a:t>
            </a:r>
          </a:p>
          <a:p>
            <a:pPr algn="ctr"/>
            <a:r>
              <a:rPr lang="en-US" sz="3200">
                <a:solidFill>
                  <a:schemeClr val="bg1"/>
                </a:solidFill>
                <a:ea typeface="Calibri"/>
                <a:cs typeface="Calibri"/>
              </a:rPr>
              <a:t>Abdul Basit</a:t>
            </a:r>
          </a:p>
          <a:p>
            <a:pPr algn="ctr"/>
            <a:r>
              <a:rPr lang="en-US" sz="3200">
                <a:solidFill>
                  <a:schemeClr val="bg1"/>
                </a:solidFill>
                <a:ea typeface="Calibri"/>
                <a:cs typeface="Calibri"/>
              </a:rPr>
              <a:t>&amp;</a:t>
            </a:r>
          </a:p>
          <a:p>
            <a:pPr algn="ctr"/>
            <a:r>
              <a:rPr lang="en-US" sz="3200">
                <a:solidFill>
                  <a:schemeClr val="bg1"/>
                </a:solidFill>
                <a:ea typeface="Calibri"/>
                <a:cs typeface="Calibri"/>
              </a:rPr>
              <a:t>Abdul Rehma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Roboto"/>
              </a:defRPr>
            </a:pPr>
            <a:r>
              <a:t>Provide services to other systems over a network</a:t>
            </a:r>
          </a:p>
          <a:p>
            <a:pPr>
              <a:defRPr sz="3600">
                <a:latin typeface="Roboto"/>
              </a:defRPr>
            </a:pPr>
            <a:r>
              <a:t>Used in web hosting, cloud computing, and data storage</a:t>
            </a:r>
          </a:p>
          <a:p>
            <a:pPr>
              <a:defRPr sz="3600">
                <a:latin typeface="Roboto"/>
              </a:defRPr>
            </a:pPr>
            <a:r>
              <a:t>Examples: Web servers, database server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4085"/>
                </a:solidFill>
                <a:latin typeface="Roboto"/>
              </a:defRPr>
            </a:pPr>
            <a:r>
              <a:t>Servers</a:t>
            </a:r>
          </a:p>
        </p:txBody>
      </p:sp>
      <p:pic>
        <p:nvPicPr>
          <p:cNvPr id="12" name="Picture Placeholder 11" descr="Ethernet cables connected to a networking patch">
            <a:extLst>
              <a:ext uri="{FF2B5EF4-FFF2-40B4-BE49-F238E27FC236}">
                <a16:creationId xmlns:a16="http://schemas.microsoft.com/office/drawing/2014/main" id="{0D23E6E8-B71A-C9E4-3B2B-829A0B942C0C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5556" r="5556"/>
          <a:stretch/>
        </p:blipFill>
        <p:spPr/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5CA019B-1603-1772-FD6B-0E25E426653A}"/>
              </a:ext>
            </a:extLst>
          </p:cNvPr>
          <p:cNvSpPr/>
          <p:nvPr/>
        </p:nvSpPr>
        <p:spPr>
          <a:xfrm>
            <a:off x="999460" y="9505507"/>
            <a:ext cx="1978244" cy="4253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064093" y="3625743"/>
            <a:ext cx="4624475" cy="5186243"/>
          </a:xfrm>
        </p:spPr>
        <p:txBody>
          <a:bodyPr>
            <a:normAutofit fontScale="92500" lnSpcReduction="10000"/>
          </a:bodyPr>
          <a:lstStyle/>
          <a:p>
            <a:pPr>
              <a:defRPr sz="3600">
                <a:latin typeface="Roboto"/>
              </a:defRPr>
            </a:pPr>
            <a:r>
              <a:t>Computers embedded in other devices to control specific functions</a:t>
            </a:r>
          </a:p>
          <a:p>
            <a:pPr>
              <a:defRPr sz="3600">
                <a:latin typeface="Roboto"/>
              </a:defRPr>
            </a:pPr>
            <a:r>
              <a:t>Found in devices like cars, home appliances, medical equipment</a:t>
            </a:r>
          </a:p>
          <a:p>
            <a:pPr>
              <a:defRPr sz="3600">
                <a:latin typeface="Roboto"/>
              </a:defRPr>
            </a:pPr>
            <a:r>
              <a:t>Example: Microcontrollers in IoT devic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2064093" y="1705882"/>
            <a:ext cx="4624475" cy="2164788"/>
          </a:xfrm>
        </p:spPr>
        <p:txBody>
          <a:bodyPr/>
          <a:lstStyle/>
          <a:p>
            <a:pPr>
              <a:defRPr sz="4600">
                <a:solidFill>
                  <a:srgbClr val="004085"/>
                </a:solidFill>
                <a:latin typeface="Roboto"/>
              </a:defRPr>
            </a:pPr>
            <a:r>
              <a:t>Embedded Systems</a:t>
            </a:r>
          </a:p>
        </p:txBody>
      </p:sp>
      <p:pic>
        <p:nvPicPr>
          <p:cNvPr id="11" name="Picture 10" descr="A group of electronic devices&#10;&#10;Description automatically generated">
            <a:extLst>
              <a:ext uri="{FF2B5EF4-FFF2-40B4-BE49-F238E27FC236}">
                <a16:creationId xmlns:a16="http://schemas.microsoft.com/office/drawing/2014/main" id="{2F3DCBB9-933F-B5DE-C8D1-2BC564F27A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8714" y="2096861"/>
            <a:ext cx="9987642" cy="607967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EBADF30-E0B9-4D6D-A1DE-E8D042CA85C3}"/>
              </a:ext>
            </a:extLst>
          </p:cNvPr>
          <p:cNvSpPr/>
          <p:nvPr/>
        </p:nvSpPr>
        <p:spPr>
          <a:xfrm>
            <a:off x="999460" y="9505507"/>
            <a:ext cx="1978244" cy="4253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7704" y="2159722"/>
            <a:ext cx="4941261" cy="1701053"/>
          </a:xfrm>
        </p:spPr>
        <p:txBody>
          <a:bodyPr>
            <a:normAutofit/>
          </a:bodyPr>
          <a:lstStyle/>
          <a:p>
            <a:pPr>
              <a:defRPr sz="4600">
                <a:solidFill>
                  <a:srgbClr val="004085"/>
                </a:solidFill>
                <a:latin typeface="Roboto"/>
              </a:defRPr>
            </a:pPr>
            <a:r>
              <a:rPr sz="6600"/>
              <a:t>Conclusion</a:t>
            </a:r>
          </a:p>
        </p:txBody>
      </p:sp>
      <p:pic>
        <p:nvPicPr>
          <p:cNvPr id="19" name="Picture Placeholder 18" descr="Doctors monitoring patient condition on monitors">
            <a:extLst>
              <a:ext uri="{FF2B5EF4-FFF2-40B4-BE49-F238E27FC236}">
                <a16:creationId xmlns:a16="http://schemas.microsoft.com/office/drawing/2014/main" id="{6FE09596-7E4F-A55D-2329-A0E0230F607C}"/>
              </a:ext>
            </a:extLst>
          </p:cNvPr>
          <p:cNvPicPr>
            <a:picLocks noGrp="1" noChangeAspect="1"/>
          </p:cNvPicPr>
          <p:nvPr>
            <p:ph type="pic" idx="10"/>
          </p:nvPr>
        </p:nvPicPr>
        <p:blipFill>
          <a:blip r:embed="rId2"/>
          <a:srcRect l="30406" r="30406"/>
          <a:stretch/>
        </p:blipFill>
        <p:spPr>
          <a:xfrm>
            <a:off x="10695833" y="6375"/>
            <a:ext cx="7592166" cy="10287000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87CB2A5-F13D-D354-15BB-4EBD5E1F3642}"/>
              </a:ext>
            </a:extLst>
          </p:cNvPr>
          <p:cNvSpPr txBox="1"/>
          <p:nvPr/>
        </p:nvSpPr>
        <p:spPr>
          <a:xfrm>
            <a:off x="1911926" y="4862945"/>
            <a:ext cx="5320145" cy="11079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6600" dirty="0">
                <a:solidFill>
                  <a:srgbClr val="FF0000"/>
                </a:solidFill>
                <a:latin typeface="Constantia"/>
              </a:rPr>
              <a:t>Any</a:t>
            </a:r>
            <a:r>
              <a:rPr lang="en-US" sz="6600" dirty="0">
                <a:solidFill>
                  <a:srgbClr val="FF0000"/>
                </a:solidFill>
                <a:latin typeface="Roboto"/>
              </a:rPr>
              <a:t> </a:t>
            </a:r>
            <a:r>
              <a:rPr lang="en-US" sz="6600" dirty="0">
                <a:solidFill>
                  <a:srgbClr val="FF0000"/>
                </a:solidFill>
                <a:latin typeface="Constantia"/>
              </a:rPr>
              <a:t>Queries</a:t>
            </a:r>
            <a:endParaRPr lang="en-US" dirty="0">
              <a:solidFill>
                <a:srgbClr val="FF0000"/>
              </a:solidFill>
              <a:latin typeface="Constantia"/>
            </a:endParaRPr>
          </a:p>
        </p:txBody>
      </p:sp>
      <p:pic>
        <p:nvPicPr>
          <p:cNvPr id="5" name="Graphic 4" descr="Question mark with solid fill">
            <a:extLst>
              <a:ext uri="{FF2B5EF4-FFF2-40B4-BE49-F238E27FC236}">
                <a16:creationId xmlns:a16="http://schemas.microsoft.com/office/drawing/2014/main" id="{F0997F00-5308-1412-1C26-A420855E28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78783" y="4603174"/>
            <a:ext cx="1267690" cy="1350817"/>
          </a:xfrm>
          <a:prstGeom prst="rect">
            <a:avLst/>
          </a:prstGeom>
        </p:spPr>
      </p:pic>
      <p:pic>
        <p:nvPicPr>
          <p:cNvPr id="6" name="Graphic 5" descr="Question mark with solid fill">
            <a:extLst>
              <a:ext uri="{FF2B5EF4-FFF2-40B4-BE49-F238E27FC236}">
                <a16:creationId xmlns:a16="http://schemas.microsoft.com/office/drawing/2014/main" id="{34A22AE0-92B3-8A71-768D-9E1F6ED6BD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560000">
            <a:off x="7294418" y="4603173"/>
            <a:ext cx="1267690" cy="135081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1485E56-D192-0374-769D-C2A4BBFCB1A0}"/>
              </a:ext>
            </a:extLst>
          </p:cNvPr>
          <p:cNvSpPr/>
          <p:nvPr/>
        </p:nvSpPr>
        <p:spPr>
          <a:xfrm>
            <a:off x="999460" y="9505507"/>
            <a:ext cx="1978244" cy="4253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28D862A-EF78-CF9E-AE17-729C34A516F9}"/>
              </a:ext>
            </a:extLst>
          </p:cNvPr>
          <p:cNvSpPr>
            <a:spLocks noGrp="1"/>
          </p:cNvSpPr>
          <p:nvPr/>
        </p:nvSpPr>
        <p:spPr>
          <a:xfrm>
            <a:off x="442824" y="4386141"/>
            <a:ext cx="8702377" cy="55416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5334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sz="3600" b="0" i="0" u="none" strike="noStrike" cap="none">
                <a:solidFill>
                  <a:srgbClr val="000000"/>
                </a:solidFill>
                <a:latin typeface="Raleway" pitchFamily="2" charset="77"/>
                <a:ea typeface="Raleway" pitchFamily="2" charset="77"/>
                <a:cs typeface="Calibri" panose="020F0502020204030204" pitchFamily="34" charset="0"/>
                <a:sym typeface="Roboto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>
              <a:defRPr sz="3600">
                <a:latin typeface="Roboto"/>
              </a:defRPr>
            </a:pPr>
            <a:r>
              <a:rPr>
                <a:cs typeface="Calibri"/>
              </a:rPr>
              <a:t>A machine that processes data based on a set of instructions or programs.</a:t>
            </a:r>
            <a:endParaRPr lang="en-US">
              <a:cs typeface="Calibri"/>
            </a:endParaRPr>
          </a:p>
          <a:p>
            <a:pPr>
              <a:defRPr sz="3600">
                <a:latin typeface="Roboto"/>
              </a:defRPr>
            </a:pPr>
            <a:r>
              <a:rPr>
                <a:cs typeface="Calibri"/>
              </a:rPr>
              <a:t>Performs tasks like calculations,</a:t>
            </a:r>
            <a:r>
              <a:rPr lang="en-US">
                <a:cs typeface="Calibri"/>
              </a:rPr>
              <a:t> </a:t>
            </a:r>
            <a:r>
              <a:rPr>
                <a:cs typeface="Calibri"/>
              </a:rPr>
              <a:t>data storage, and communication.</a:t>
            </a:r>
            <a:endParaRPr lang="en-US">
              <a:cs typeface="Calibri"/>
            </a:endParaRPr>
          </a:p>
          <a:p>
            <a:pPr>
              <a:defRPr sz="3600">
                <a:latin typeface="Roboto"/>
              </a:defRPr>
            </a:pPr>
            <a:r>
              <a:rPr>
                <a:cs typeface="Calibri"/>
              </a:rPr>
              <a:t>Central to modern life in homes, businesses, and industries.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D3A2E823-DF10-E795-6566-32F10426AD4A}"/>
              </a:ext>
            </a:extLst>
          </p:cNvPr>
          <p:cNvSpPr>
            <a:spLocks noGrp="1"/>
          </p:cNvSpPr>
          <p:nvPr/>
        </p:nvSpPr>
        <p:spPr>
          <a:xfrm>
            <a:off x="754107" y="2852057"/>
            <a:ext cx="1211777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Calibri"/>
              <a:buNone/>
              <a:defRPr sz="4600" b="0" i="0" u="none" strike="noStrike" cap="none">
                <a:solidFill>
                  <a:srgbClr val="000000"/>
                </a:solidFill>
                <a:latin typeface="Raleway" pitchFamily="2" charset="77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 sz="4600">
                <a:solidFill>
                  <a:srgbClr val="004085"/>
                </a:solidFill>
                <a:latin typeface="Roboto"/>
              </a:defRPr>
            </a:pPr>
            <a:r>
              <a:t>What is a Computer?</a:t>
            </a:r>
          </a:p>
        </p:txBody>
      </p:sp>
      <p:pic>
        <p:nvPicPr>
          <p:cNvPr id="12" name="Picture 11" descr="Mother Board">
            <a:extLst>
              <a:ext uri="{FF2B5EF4-FFF2-40B4-BE49-F238E27FC236}">
                <a16:creationId xmlns:a16="http://schemas.microsoft.com/office/drawing/2014/main" id="{AD261E5D-5B1D-0D28-0D35-7AFB8B8554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0892" y="1117"/>
            <a:ext cx="9144001" cy="1028476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ECA691D-8827-2C31-26CB-E5935DE74109}"/>
              </a:ext>
            </a:extLst>
          </p:cNvPr>
          <p:cNvSpPr/>
          <p:nvPr/>
        </p:nvSpPr>
        <p:spPr>
          <a:xfrm>
            <a:off x="999460" y="9505507"/>
            <a:ext cx="1978244" cy="4253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687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25CB33F-66BD-7766-393F-E3D40047BFD0}"/>
              </a:ext>
            </a:extLst>
          </p:cNvPr>
          <p:cNvPicPr>
            <a:picLocks noGrp="1" noChangeAspect="1"/>
          </p:cNvPicPr>
          <p:nvPr/>
        </p:nvPicPr>
        <p:blipFill>
          <a:blip r:embed="rId2"/>
          <a:srcRect l="20370" r="20370"/>
          <a:stretch>
            <a:fillRect/>
          </a:stretch>
        </p:blipFill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00BA605-8681-1F49-1A11-D066853DB249}"/>
              </a:ext>
            </a:extLst>
          </p:cNvPr>
          <p:cNvSpPr>
            <a:spLocks noGrp="1"/>
          </p:cNvSpPr>
          <p:nvPr/>
        </p:nvSpPr>
        <p:spPr>
          <a:xfrm>
            <a:off x="919075" y="3729318"/>
            <a:ext cx="7529186" cy="58718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sz="3600" b="0" i="0" u="none" strike="noStrike" cap="none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>
              <a:defRPr sz="3600">
                <a:latin typeface="Roboto"/>
              </a:defRPr>
            </a:pPr>
            <a:r>
              <a:rPr dirty="0">
                <a:ea typeface="Calibri"/>
                <a:cs typeface="Calibri"/>
              </a:rPr>
              <a:t>Designed to perform a wide variety of tasks.</a:t>
            </a:r>
          </a:p>
          <a:p>
            <a:pPr>
              <a:defRPr sz="3600">
                <a:latin typeface="Roboto"/>
              </a:defRPr>
            </a:pPr>
            <a:r>
              <a:rPr dirty="0">
                <a:ea typeface="Calibri"/>
                <a:cs typeface="Calibri"/>
              </a:rPr>
              <a:t>Examples include personal computers and </a:t>
            </a:r>
            <a:r>
              <a:rPr lang="en-US" dirty="0">
                <a:ea typeface="Calibri"/>
                <a:cs typeface="Calibri"/>
              </a:rPr>
              <a:t>mobiles</a:t>
            </a:r>
            <a:r>
              <a:rPr dirty="0">
                <a:ea typeface="Calibri"/>
                <a:cs typeface="Calibri"/>
              </a:rPr>
              <a:t>.</a:t>
            </a:r>
          </a:p>
          <a:p>
            <a:pPr>
              <a:defRPr sz="3600">
                <a:latin typeface="Roboto"/>
              </a:defRPr>
            </a:pPr>
            <a:r>
              <a:rPr dirty="0">
                <a:ea typeface="Calibri"/>
                <a:cs typeface="Calibri"/>
              </a:rPr>
              <a:t>Can run different types of software for various applications.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9F43D82B-184E-8087-BCA2-EEBDFE26D080}"/>
              </a:ext>
            </a:extLst>
          </p:cNvPr>
          <p:cNvSpPr>
            <a:spLocks noGrp="1"/>
          </p:cNvSpPr>
          <p:nvPr/>
        </p:nvSpPr>
        <p:spPr>
          <a:xfrm>
            <a:off x="919163" y="2263775"/>
            <a:ext cx="7529186" cy="14655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Calibri"/>
              <a:buNone/>
              <a:defRPr sz="4600" b="0" i="0" u="none" strike="noStrike" cap="none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 sz="4600">
                <a:solidFill>
                  <a:srgbClr val="004085"/>
                </a:solidFill>
                <a:latin typeface="Roboto"/>
              </a:defRPr>
            </a:pPr>
            <a:r>
              <a:t>General-Purpose Computer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B9761CF-2C38-4C1E-A3C3-022AA6893473}"/>
              </a:ext>
            </a:extLst>
          </p:cNvPr>
          <p:cNvSpPr/>
          <p:nvPr/>
        </p:nvSpPr>
        <p:spPr>
          <a:xfrm>
            <a:off x="999460" y="9505507"/>
            <a:ext cx="1978244" cy="4253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293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jXd2FSvcRr8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l="20370" r="2037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Roboto"/>
              </a:defRPr>
            </a:pPr>
            <a:r>
              <a:t>Desktop and laptop computers</a:t>
            </a:r>
          </a:p>
          <a:p>
            <a:pPr>
              <a:defRPr sz="3600">
                <a:latin typeface="Roboto"/>
              </a:defRPr>
            </a:pPr>
            <a:r>
              <a:t>Used for personal tasks, gaming, and work</a:t>
            </a:r>
          </a:p>
          <a:p>
            <a:pPr>
              <a:defRPr sz="3600">
                <a:latin typeface="Roboto"/>
              </a:defRPr>
            </a:pPr>
            <a:r>
              <a:t>Examples: Windows PCs, MacBooks, Chromebook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4085"/>
                </a:solidFill>
                <a:latin typeface="Roboto"/>
              </a:defRPr>
            </a:pPr>
            <a:r>
              <a:t>Personal Computers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9545EC9-E850-08A0-865E-B607FD3588C2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20FF87-722A-52DB-B7D3-7568228022AD}"/>
              </a:ext>
            </a:extLst>
          </p:cNvPr>
          <p:cNvSpPr/>
          <p:nvPr/>
        </p:nvSpPr>
        <p:spPr>
          <a:xfrm>
            <a:off x="999460" y="9505507"/>
            <a:ext cx="1978244" cy="4253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p14="http://schemas.microsoft.com/office/powerpoint/2010/main" Requires="p14">
          <p:contentPart p14:bwMode="auto" r:id="rId2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8DB62621-426E-5B34-F9A8-2158B96D893A}"/>
                  </a:ext>
                </a:extLst>
              </p14:cNvPr>
              <p14:cNvContentPartPr/>
              <p14:nvPr/>
            </p14:nvContentPartPr>
            <p14:xfrm>
              <a:off x="233916" y="9413279"/>
              <a:ext cx="3506460" cy="800219"/>
            </p14:xfrm>
          </p:contentPart>
        </mc:Choice>
        <mc:Fallback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8DB62621-426E-5B34-F9A8-2158B96D893A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70928" y="9350672"/>
                <a:ext cx="3632076" cy="925793"/>
              </a:xfrm>
              <a:prstGeom prst="rect">
                <a:avLst/>
              </a:prstGeom>
            </p:spPr>
          </p:pic>
        </mc:Fallback>
      </mc:AlternateContent>
      <p:sp>
        <p:nvSpPr>
          <p:cNvPr id="8" name="TextBox 7">
            <a:extLst>
              <a:ext uri="{FF2B5EF4-FFF2-40B4-BE49-F238E27FC236}">
                <a16:creationId xmlns:a16="http://schemas.microsoft.com/office/drawing/2014/main" id="{26E28280-5ECA-447F-8A8C-B49BC89BDA42}"/>
              </a:ext>
            </a:extLst>
          </p:cNvPr>
          <p:cNvSpPr txBox="1"/>
          <p:nvPr/>
        </p:nvSpPr>
        <p:spPr>
          <a:xfrm>
            <a:off x="1226127" y="1766454"/>
            <a:ext cx="5839690" cy="80021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600" dirty="0">
                <a:solidFill>
                  <a:schemeClr val="bg2">
                    <a:lumMod val="76000"/>
                  </a:schemeClr>
                </a:solidFill>
                <a:latin typeface="Roboto"/>
              </a:rPr>
              <a:t>Handheld Devices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0" name="Ink 9">
                <a:extLst>
                  <a:ext uri="{FF2B5EF4-FFF2-40B4-BE49-F238E27FC236}">
                    <a16:creationId xmlns:a16="http://schemas.microsoft.com/office/drawing/2014/main" id="{B3C8A073-0D52-2587-CDD6-63AAB0862192}"/>
                  </a:ext>
                </a:extLst>
              </p14:cNvPr>
              <p14:cNvContentPartPr/>
              <p14:nvPr/>
            </p14:nvContentPartPr>
            <p14:xfrm>
              <a:off x="2218396" y="9534258"/>
              <a:ext cx="1005700" cy="402642"/>
            </p14:xfrm>
          </p:contentPart>
        </mc:Choice>
        <mc:Fallback xmlns="">
          <p:pic>
            <p:nvPicPr>
              <p:cNvPr id="10" name="Ink 9">
                <a:extLst>
                  <a:ext uri="{FF2B5EF4-FFF2-40B4-BE49-F238E27FC236}">
                    <a16:creationId xmlns:a16="http://schemas.microsoft.com/office/drawing/2014/main" id="{B3C8A073-0D52-2587-CDD6-63AAB0862192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155787" y="9471289"/>
                <a:ext cx="1131278" cy="528220"/>
              </a:xfrm>
              <a:prstGeom prst="rect">
                <a:avLst/>
              </a:prstGeom>
            </p:spPr>
          </p:pic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0FA862DC-AC53-E1E4-464F-0BAB263830A9}"/>
              </a:ext>
            </a:extLst>
          </p:cNvPr>
          <p:cNvSpPr txBox="1"/>
          <p:nvPr/>
        </p:nvSpPr>
        <p:spPr>
          <a:xfrm>
            <a:off x="1226126" y="3345872"/>
            <a:ext cx="6691745" cy="507831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Char char="•"/>
            </a:pPr>
            <a:r>
              <a:rPr lang="en-US" sz="3600" dirty="0">
                <a:latin typeface="Roboto"/>
              </a:rPr>
              <a:t>Touchscreen interfaces</a:t>
            </a:r>
            <a:endParaRPr lang="en-US"/>
          </a:p>
          <a:p>
            <a:pPr marL="285750" indent="-285750">
              <a:buChar char="•"/>
            </a:pPr>
            <a:r>
              <a:rPr lang="en-US" sz="3600" dirty="0">
                <a:latin typeface="Roboto"/>
              </a:rPr>
              <a:t>Portability and battery life</a:t>
            </a:r>
          </a:p>
          <a:p>
            <a:pPr>
              <a:buChar char="•"/>
            </a:pPr>
            <a:r>
              <a:rPr lang="en-US" sz="3600" dirty="0">
                <a:latin typeface="Roboto"/>
              </a:rPr>
              <a:t> Communication</a:t>
            </a:r>
          </a:p>
          <a:p>
            <a:pPr>
              <a:buChar char="•"/>
            </a:pPr>
            <a:r>
              <a:rPr lang="en-US" sz="3600" dirty="0">
                <a:latin typeface="Roboto"/>
              </a:rPr>
              <a:t> Entertainment </a:t>
            </a:r>
            <a:endParaRPr lang="en-US" dirty="0"/>
          </a:p>
          <a:p>
            <a:pPr>
              <a:buChar char="•"/>
            </a:pPr>
            <a:r>
              <a:rPr lang="en-US" sz="3600" dirty="0">
                <a:latin typeface="Roboto"/>
              </a:rPr>
              <a:t> Productivity </a:t>
            </a:r>
          </a:p>
          <a:p>
            <a:pPr>
              <a:buChar char="•"/>
            </a:pPr>
            <a:r>
              <a:rPr lang="en-US" sz="3600" dirty="0">
                <a:latin typeface="Roboto"/>
              </a:rPr>
              <a:t> Examples: Smartphones,                   </a:t>
            </a:r>
            <a:r>
              <a:rPr lang="en-US" sz="3600">
                <a:latin typeface="Roboto"/>
              </a:rPr>
              <a:t>Tablets, Wearable technology  </a:t>
            </a:r>
            <a:r>
              <a:rPr lang="en-US" sz="3600" dirty="0">
                <a:latin typeface="Roboto"/>
              </a:rPr>
              <a:t>(smartwatches)</a:t>
            </a:r>
          </a:p>
          <a:p>
            <a:pPr marL="285750" indent="-285750">
              <a:buChar char="•"/>
            </a:pPr>
            <a:endParaRPr lang="en-US" sz="3600" dirty="0">
              <a:latin typeface="Roboto"/>
            </a:endParaRPr>
          </a:p>
        </p:txBody>
      </p:sp>
      <p:pic>
        <p:nvPicPr>
          <p:cNvPr id="13" name="Picture 12" descr="Businessman text messaging">
            <a:extLst>
              <a:ext uri="{FF2B5EF4-FFF2-40B4-BE49-F238E27FC236}">
                <a16:creationId xmlns:a16="http://schemas.microsoft.com/office/drawing/2014/main" id="{70C8A7BB-CF22-0C89-98FA-BA77BD1F30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01000" y="4810"/>
            <a:ext cx="10287000" cy="1027738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72782A9-4F22-5AB8-32E2-3653FF379047}"/>
              </a:ext>
            </a:extLst>
          </p:cNvPr>
          <p:cNvSpPr/>
          <p:nvPr/>
        </p:nvSpPr>
        <p:spPr>
          <a:xfrm>
            <a:off x="999460" y="9505507"/>
            <a:ext cx="1978244" cy="4253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5853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Roboto"/>
              </a:defRPr>
            </a:pPr>
            <a:r>
              <a:t>High-performance computers for technical or scientific applications</a:t>
            </a:r>
          </a:p>
          <a:p>
            <a:pPr>
              <a:defRPr sz="3600">
                <a:latin typeface="Roboto"/>
              </a:defRPr>
            </a:pPr>
            <a:r>
              <a:t>Used by engineers, architects, and designers</a:t>
            </a:r>
          </a:p>
          <a:p>
            <a:pPr>
              <a:defRPr sz="3600">
                <a:latin typeface="Roboto"/>
              </a:defRPr>
            </a:pPr>
            <a:r>
              <a:t>More powerful than standard PC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879496" y="2250167"/>
            <a:ext cx="7489429" cy="1444675"/>
          </a:xfrm>
        </p:spPr>
        <p:txBody>
          <a:bodyPr/>
          <a:lstStyle/>
          <a:p>
            <a:pPr>
              <a:defRPr sz="4600">
                <a:solidFill>
                  <a:srgbClr val="004085"/>
                </a:solidFill>
                <a:latin typeface="Roboto"/>
              </a:defRPr>
            </a:pPr>
            <a:r>
              <a:t>Workstations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B1BEC712-932F-BF6C-2994-C4E8FB921910}"/>
                  </a:ext>
                </a:extLst>
              </p14:cNvPr>
              <p14:cNvContentPartPr/>
              <p14:nvPr/>
            </p14:nvContentPartPr>
            <p14:xfrm>
              <a:off x="12053454" y="4482935"/>
              <a:ext cx="14844" cy="14844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B1BEC712-932F-BF6C-2994-C4E8FB921910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455754" y="1885235"/>
                <a:ext cx="5195400" cy="5195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0" name="Ink 9">
                <a:extLst>
                  <a:ext uri="{FF2B5EF4-FFF2-40B4-BE49-F238E27FC236}">
                    <a16:creationId xmlns:a16="http://schemas.microsoft.com/office/drawing/2014/main" id="{A129EDBC-2313-E4B2-5E29-02CB3EEA6D4D}"/>
                  </a:ext>
                </a:extLst>
              </p14:cNvPr>
              <p14:cNvContentPartPr/>
              <p14:nvPr/>
            </p14:nvContentPartPr>
            <p14:xfrm>
              <a:off x="13077701" y="4408714"/>
              <a:ext cx="14844" cy="14844"/>
            </p14:xfrm>
          </p:contentPart>
        </mc:Choice>
        <mc:Fallback xmlns="">
          <p:pic>
            <p:nvPicPr>
              <p:cNvPr id="10" name="Ink 9">
                <a:extLst>
                  <a:ext uri="{FF2B5EF4-FFF2-40B4-BE49-F238E27FC236}">
                    <a16:creationId xmlns:a16="http://schemas.microsoft.com/office/drawing/2014/main" id="{A129EDBC-2313-E4B2-5E29-02CB3EEA6D4D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0480001" y="1811014"/>
                <a:ext cx="5195400" cy="5195400"/>
              </a:xfrm>
              <a:prstGeom prst="rect">
                <a:avLst/>
              </a:prstGeom>
            </p:spPr>
          </p:pic>
        </mc:Fallback>
      </mc:AlternateContent>
      <p:pic>
        <p:nvPicPr>
          <p:cNvPr id="19" name="Picture 18" descr="A person sitting at a desk with multiple computer screens&#10;&#10;Description automatically generated">
            <a:extLst>
              <a:ext uri="{FF2B5EF4-FFF2-40B4-BE49-F238E27FC236}">
                <a16:creationId xmlns:a16="http://schemas.microsoft.com/office/drawing/2014/main" id="{A9123C8D-2264-AD30-7FE7-66CF297D77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946" y="966356"/>
            <a:ext cx="8738753" cy="795349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F9F732E-23BE-057E-C1DC-88237E645E84}"/>
              </a:ext>
            </a:extLst>
          </p:cNvPr>
          <p:cNvSpPr/>
          <p:nvPr/>
        </p:nvSpPr>
        <p:spPr>
          <a:xfrm>
            <a:off x="999460" y="9505507"/>
            <a:ext cx="1978244" cy="4253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F6C3AFB-B634-51C4-80C9-142B71C6C5AC}"/>
              </a:ext>
            </a:extLst>
          </p:cNvPr>
          <p:cNvSpPr>
            <a:spLocks noGrp="1"/>
          </p:cNvSpPr>
          <p:nvPr/>
        </p:nvSpPr>
        <p:spPr>
          <a:xfrm>
            <a:off x="9879496" y="3708450"/>
            <a:ext cx="7489429" cy="5892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sz="3600" b="0" i="0" u="none" strike="noStrike" cap="none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●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○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Roboto Light"/>
              <a:buChar char="■"/>
              <a:defRPr sz="2400" b="0" i="0" u="none" strike="noStrike" cap="none">
                <a:solidFill>
                  <a:srgbClr val="000000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>
              <a:defRPr sz="3600">
                <a:latin typeface="Roboto"/>
              </a:defRPr>
            </a:pPr>
            <a:r>
              <a:t>Built for specific tasks or operations.</a:t>
            </a:r>
          </a:p>
          <a:p>
            <a:pPr>
              <a:defRPr sz="3600">
                <a:latin typeface="Roboto"/>
              </a:defRPr>
            </a:pPr>
            <a:r>
              <a:t>Examples include ATMs, embedded systems in cars, and gaming consoles.</a:t>
            </a:r>
          </a:p>
          <a:p>
            <a:pPr>
              <a:defRPr sz="3600">
                <a:latin typeface="Roboto"/>
              </a:defRPr>
            </a:pPr>
            <a:r>
              <a:t>Highly optimized for the function they are intended to perform.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E5F1526-8B22-2D0C-E338-04DB49C3C400}"/>
              </a:ext>
            </a:extLst>
          </p:cNvPr>
          <p:cNvSpPr>
            <a:spLocks noGrp="1"/>
          </p:cNvSpPr>
          <p:nvPr/>
        </p:nvSpPr>
        <p:spPr>
          <a:xfrm>
            <a:off x="9879496" y="2263774"/>
            <a:ext cx="7489429" cy="1444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Calibri"/>
              <a:buNone/>
              <a:defRPr sz="4600" b="0" i="0" u="none" strike="noStrike" cap="none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00"/>
              <a:buFont typeface="Arial"/>
              <a:buNone/>
              <a:defRPr sz="5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 sz="4600">
                <a:solidFill>
                  <a:srgbClr val="004085"/>
                </a:solidFill>
                <a:latin typeface="Roboto"/>
              </a:defRPr>
            </a:pPr>
            <a:r>
              <a:t>Special-Purpose Computers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61828190-A301-A73E-0197-9A4473224616}"/>
                  </a:ext>
                </a:extLst>
              </p14:cNvPr>
              <p14:cNvContentPartPr/>
              <p14:nvPr/>
            </p14:nvContentPartPr>
            <p14:xfrm>
              <a:off x="18866922" y="1840675"/>
              <a:ext cx="14844" cy="14844"/>
            </p14:xfrm>
          </p:contentPart>
        </mc:Choice>
        <mc:Fallback xmlns=""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61828190-A301-A73E-0197-9A4473224616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6269222" y="-757025"/>
                <a:ext cx="5195400" cy="5195400"/>
              </a:xfrm>
              <a:prstGeom prst="rect">
                <a:avLst/>
              </a:prstGeom>
            </p:spPr>
          </p:pic>
        </mc:Fallback>
      </mc:AlternateContent>
      <p:pic>
        <p:nvPicPr>
          <p:cNvPr id="13" name="Picture 12" descr="A green atm machine with a screen">
            <a:extLst>
              <a:ext uri="{FF2B5EF4-FFF2-40B4-BE49-F238E27FC236}">
                <a16:creationId xmlns:a16="http://schemas.microsoft.com/office/drawing/2014/main" id="{D808768E-3B00-2015-2024-6CF338E90A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2474" y="985093"/>
            <a:ext cx="9443357" cy="817084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DBAC1DE-7484-5D5F-E0A8-9B8341497D42}"/>
              </a:ext>
            </a:extLst>
          </p:cNvPr>
          <p:cNvSpPr/>
          <p:nvPr/>
        </p:nvSpPr>
        <p:spPr>
          <a:xfrm>
            <a:off x="999460" y="9505507"/>
            <a:ext cx="1978244" cy="4253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02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ZYb_fGvNndA.jpg"/>
          <p:cNvPicPr>
            <a:picLocks noGrp="1" noChangeAspect="1"/>
          </p:cNvPicPr>
          <p:nvPr>
            <p:ph type="pic" idx="2"/>
          </p:nvPr>
        </p:nvPicPr>
        <p:blipFill>
          <a:blip r:embed="rId2"/>
          <a:srcRect t="21820" b="21820"/>
          <a:stretch>
            <a:fillRect/>
          </a:stretch>
        </p:blipFill>
        <p:spPr/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7037" y="3907171"/>
            <a:ext cx="4906513" cy="4883786"/>
          </a:xfrm>
        </p:spPr>
        <p:txBody>
          <a:bodyPr>
            <a:normAutofit fontScale="92500"/>
          </a:bodyPr>
          <a:lstStyle/>
          <a:p>
            <a:pPr>
              <a:defRPr sz="3600">
                <a:latin typeface="Roboto"/>
              </a:defRPr>
            </a:pPr>
            <a:r>
              <a:t>Large, powerful systems for handling vast amounts of data</a:t>
            </a:r>
          </a:p>
          <a:p>
            <a:pPr>
              <a:defRPr sz="3600">
                <a:latin typeface="Roboto"/>
              </a:defRPr>
            </a:pPr>
            <a:r>
              <a:t>Used by governments and large corporations</a:t>
            </a:r>
          </a:p>
          <a:p>
            <a:pPr>
              <a:defRPr sz="3600">
                <a:latin typeface="Roboto"/>
              </a:defRPr>
            </a:pPr>
            <a:r>
              <a:t>Focus on reliability, stability, and large-scale transaction process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9075" y="1882775"/>
            <a:ext cx="4624475" cy="2146859"/>
          </a:xfrm>
        </p:spPr>
        <p:txBody>
          <a:bodyPr/>
          <a:lstStyle/>
          <a:p>
            <a:pPr>
              <a:defRPr sz="4600">
                <a:solidFill>
                  <a:srgbClr val="004085"/>
                </a:solidFill>
                <a:latin typeface="Roboto"/>
              </a:defRPr>
            </a:pPr>
            <a:r>
              <a:t>Mainframe Compute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8265BD0-53B2-D3EE-3036-DB81FF0BF21F}"/>
              </a:ext>
            </a:extLst>
          </p:cNvPr>
          <p:cNvSpPr/>
          <p:nvPr/>
        </p:nvSpPr>
        <p:spPr>
          <a:xfrm>
            <a:off x="999460" y="9505507"/>
            <a:ext cx="1978244" cy="4253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3600">
                <a:latin typeface="Roboto"/>
              </a:defRPr>
            </a:pPr>
            <a:r>
              <a:t>Fastest and most powerful computers</a:t>
            </a:r>
          </a:p>
          <a:p>
            <a:pPr>
              <a:defRPr sz="3600">
                <a:latin typeface="Roboto"/>
              </a:defRPr>
            </a:pPr>
            <a:r>
              <a:t>Used for scientific simulations, weather forecasting, and research</a:t>
            </a:r>
          </a:p>
          <a:p>
            <a:pPr>
              <a:defRPr sz="3600">
                <a:latin typeface="Roboto"/>
              </a:defRPr>
            </a:pPr>
            <a:r>
              <a:t>Example: IBM's Summit, Fujitsu's Fugak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 sz="4600">
                <a:solidFill>
                  <a:srgbClr val="004085"/>
                </a:solidFill>
                <a:latin typeface="Roboto"/>
              </a:defRPr>
            </a:pPr>
            <a:r>
              <a:t>Supercomputer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5B598DB-2711-0ED7-E0AD-C3BDF8E0B3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6325" y="1068286"/>
            <a:ext cx="7491351" cy="815042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C6EAD23-7E61-01D7-4477-308B12F01695}"/>
              </a:ext>
            </a:extLst>
          </p:cNvPr>
          <p:cNvSpPr/>
          <p:nvPr/>
        </p:nvSpPr>
        <p:spPr>
          <a:xfrm>
            <a:off x="999460" y="9505507"/>
            <a:ext cx="1978244" cy="4253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6</Words>
  <Application>Microsoft Office PowerPoint</Application>
  <PresentationFormat>Custom</PresentationFormat>
  <Paragraphs>53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Roboto Light</vt:lpstr>
      <vt:lpstr>Candara</vt:lpstr>
      <vt:lpstr>Constantia</vt:lpstr>
      <vt:lpstr>Roboto</vt:lpstr>
      <vt:lpstr>Arial</vt:lpstr>
      <vt:lpstr>Calibri</vt:lpstr>
      <vt:lpstr>Raleway</vt:lpstr>
      <vt:lpstr>JasmineUPC</vt:lpstr>
      <vt:lpstr>Smart Slides v1</vt:lpstr>
      <vt:lpstr>think-cell Slide</vt:lpstr>
      <vt:lpstr>Introduction to  Types of Computers</vt:lpstr>
      <vt:lpstr>PowerPoint Presentation</vt:lpstr>
      <vt:lpstr>PowerPoint Presentation</vt:lpstr>
      <vt:lpstr>Personal Computers</vt:lpstr>
      <vt:lpstr>PowerPoint Presentation</vt:lpstr>
      <vt:lpstr>Workstations</vt:lpstr>
      <vt:lpstr>PowerPoint Presentation</vt:lpstr>
      <vt:lpstr>Mainframe Computers</vt:lpstr>
      <vt:lpstr>Supercomputers</vt:lpstr>
      <vt:lpstr>Servers</vt:lpstr>
      <vt:lpstr>Embedded Systems</vt:lpstr>
      <vt:lpstr>Conclu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dc:creator>ABDUL BASIT</dc:creator>
  <cp:lastModifiedBy>Abdul Basit</cp:lastModifiedBy>
  <cp:revision>89</cp:revision>
  <dcterms:modified xsi:type="dcterms:W3CDTF">2024-10-02T16:35:24Z</dcterms:modified>
</cp:coreProperties>
</file>